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1"/>
  </p:sldMasterIdLst>
  <p:notesMasterIdLst>
    <p:notesMasterId r:id="rId7"/>
  </p:notesMasterIdLst>
  <p:handoutMasterIdLst>
    <p:handoutMasterId r:id="rId8"/>
  </p:handoutMasterIdLst>
  <p:sldIdLst>
    <p:sldId id="287" r:id="rId2"/>
    <p:sldId id="533" r:id="rId3"/>
    <p:sldId id="534" r:id="rId4"/>
    <p:sldId id="535" r:id="rId5"/>
    <p:sldId id="536" r:id="rId6"/>
  </p:sldIdLst>
  <p:sldSz cx="12192000" cy="6858000"/>
  <p:notesSz cx="6805613" cy="99441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85" userDrawn="1">
          <p15:clr>
            <a:srgbClr val="A4A3A4"/>
          </p15:clr>
        </p15:guide>
        <p15:guide id="3" orient="horz" pos="1049" userDrawn="1">
          <p15:clr>
            <a:srgbClr val="A4A3A4"/>
          </p15:clr>
        </p15:guide>
        <p15:guide id="4" pos="61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9AA"/>
    <a:srgbClr val="6699FF"/>
    <a:srgbClr val="294790"/>
    <a:srgbClr val="97ADD0"/>
    <a:srgbClr val="EBF1DE"/>
    <a:srgbClr val="B8CCE4"/>
    <a:srgbClr val="C5D9F1"/>
    <a:srgbClr val="FFFF99"/>
    <a:srgbClr val="C55A11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52" autoAdjust="0"/>
    <p:restoredTop sz="94025" autoAdjust="0"/>
  </p:normalViewPr>
  <p:slideViewPr>
    <p:cSldViewPr snapToGrid="0">
      <p:cViewPr varScale="1">
        <p:scale>
          <a:sx n="106" d="100"/>
          <a:sy n="106" d="100"/>
        </p:scale>
        <p:origin x="444" y="96"/>
      </p:cViewPr>
      <p:guideLst>
        <p:guide orient="horz" pos="3385"/>
        <p:guide orient="horz" pos="1049"/>
        <p:guide pos="61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8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949256342957133"/>
          <c:y val="7.5442742852678296E-2"/>
          <c:w val="0.41345975503062116"/>
          <c:h val="0.83915740577148279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[_ФП_полный_с изменениями на 18.05.2020 (1).xlsx]Лист1'!$A$26:$A$30</c:f>
              <c:strCache>
                <c:ptCount val="5"/>
                <c:pt idx="0">
                  <c:v>ДРОФА</c:v>
                </c:pt>
                <c:pt idx="1">
                  <c:v>ВЕНТАНА-ГРАФ</c:v>
                </c:pt>
                <c:pt idx="2">
                  <c:v>Просвещение</c:v>
                </c:pt>
                <c:pt idx="3">
                  <c:v>Развивающее обучение</c:v>
                </c:pt>
                <c:pt idx="4">
                  <c:v>БИНОМ. Лаборатория знаний</c:v>
                </c:pt>
              </c:strCache>
            </c:strRef>
          </c:cat>
          <c:val>
            <c:numRef>
              <c:f>'[_ФП_полный_с изменениями на 18.05.2020 (1).xlsx]Лист1'!$B$26:$B$30</c:f>
              <c:numCache>
                <c:formatCode>General</c:formatCode>
                <c:ptCount val="5"/>
                <c:pt idx="0">
                  <c:v>66</c:v>
                </c:pt>
                <c:pt idx="1">
                  <c:v>48</c:v>
                </c:pt>
                <c:pt idx="2">
                  <c:v>44</c:v>
                </c:pt>
                <c:pt idx="3">
                  <c:v>12</c:v>
                </c:pt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4696369203849515"/>
          <c:y val="0.33263534431707908"/>
          <c:w val="0.45303630796150479"/>
          <c:h val="0.402389262126319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1F24A-DBBE-42C7-93B1-4DDAD219BAB1}" type="datetimeFigureOut">
              <a:rPr lang="ru-RU" smtClean="0"/>
              <a:t>10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E97416-EA85-4453-90F9-4372722382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3841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C66F2C91-5BE2-4D4A-A47C-15BBA71B198D}" type="datetimeFigureOut">
              <a:rPr lang="ru-RU" smtClean="0"/>
              <a:t>10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1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CD0A87D-A611-4407-9F4B-965663F77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489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D0A87D-A611-4407-9F4B-965663F7789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8756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3008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5763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798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4603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5359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7109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60760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24892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955122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8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03000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42805111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2653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83124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768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6712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8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13505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88848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35098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4005496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0833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8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080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28597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0413812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7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48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547968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1907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894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0" name="Слайд think-cell" r:id="rId26" imgW="360" imgH="360" progId="TCLayout.ActiveDocument.1">
                  <p:embed/>
                </p:oleObj>
              </mc:Choice>
              <mc:Fallback>
                <p:oleObj name="Слайд think-cell" r:id="rId2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641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3.xml"/><Relationship Id="rId7" Type="http://schemas.openxmlformats.org/officeDocument/2006/relationships/image" Target="../media/image10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0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0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BCCADD21-023E-1444-BB6E-D81DC30AA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0411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3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59712902-299E-8949-8177-2BD7B585D0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0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5D4BAC93-3F64-4847-8A21-E5F2342F2D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526744"/>
            <a:ext cx="12192000" cy="1830065"/>
          </a:xfrm>
        </p:spPr>
        <p:txBody>
          <a:bodyPr>
            <a:normAutofit/>
          </a:bodyPr>
          <a:lstStyle/>
          <a:p>
            <a:r>
              <a:rPr lang="ru-RU" dirty="0" smtClean="0"/>
              <a:t>Изменения Федерального перечня учебников</a:t>
            </a:r>
            <a:r>
              <a:rPr lang="ru-RU" dirty="0"/>
              <a:t/>
            </a:r>
            <a:br>
              <a:rPr lang="ru-RU" dirty="0"/>
            </a:br>
            <a:r>
              <a:rPr lang="ru-RU" sz="2400" dirty="0" smtClean="0"/>
              <a:t>согласно </a:t>
            </a:r>
            <a:r>
              <a:rPr lang="ru-RU" sz="2400" dirty="0"/>
              <a:t>приказу </a:t>
            </a:r>
            <a:r>
              <a:rPr lang="ru-RU" sz="2400" dirty="0" smtClean="0"/>
              <a:t>Министерства </a:t>
            </a:r>
            <a:r>
              <a:rPr lang="ru-RU" sz="2400" dirty="0"/>
              <a:t>просвещения Российской </a:t>
            </a:r>
            <a:r>
              <a:rPr lang="ru-RU" sz="2400" dirty="0" smtClean="0"/>
              <a:t>Федерации </a:t>
            </a:r>
            <a:br>
              <a:rPr lang="ru-RU" sz="2400" dirty="0" smtClean="0"/>
            </a:br>
            <a:r>
              <a:rPr lang="ru-RU" sz="2400" dirty="0" smtClean="0"/>
              <a:t>от </a:t>
            </a:r>
            <a:r>
              <a:rPr lang="ru-RU" sz="2400" dirty="0"/>
              <a:t>18 мая 2020 г. N </a:t>
            </a:r>
            <a:r>
              <a:rPr lang="ru-RU" sz="2400" dirty="0" smtClean="0"/>
              <a:t>249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28085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18746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ru-RU" sz="1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393722" y="1146054"/>
            <a:ext cx="11606933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smtClean="0">
                <a:solidFill>
                  <a:srgbClr val="4249AA"/>
                </a:solidFill>
              </a:rPr>
              <a:t>Изменения</a:t>
            </a:r>
            <a:r>
              <a:rPr lang="en-US" sz="1600" b="1" dirty="0" smtClean="0">
                <a:solidFill>
                  <a:srgbClr val="4249AA"/>
                </a:solidFill>
              </a:rPr>
              <a:t> </a:t>
            </a:r>
            <a:r>
              <a:rPr lang="ru-RU" sz="1600" b="1" dirty="0" smtClean="0">
                <a:solidFill>
                  <a:srgbClr val="4249AA"/>
                </a:solidFill>
              </a:rPr>
              <a:t>сведени</a:t>
            </a:r>
            <a:r>
              <a:rPr lang="ru-RU" sz="1600" b="1" dirty="0" smtClean="0">
                <a:solidFill>
                  <a:srgbClr val="4249AA"/>
                </a:solidFill>
              </a:rPr>
              <a:t>й по</a:t>
            </a:r>
            <a:r>
              <a:rPr lang="ru-RU" sz="1600" b="1" dirty="0" smtClean="0">
                <a:solidFill>
                  <a:srgbClr val="4249AA"/>
                </a:solidFill>
              </a:rPr>
              <a:t> учебникам, включенным </a:t>
            </a:r>
            <a:r>
              <a:rPr lang="ru-RU" sz="1600" b="1" dirty="0">
                <a:solidFill>
                  <a:srgbClr val="4249AA"/>
                </a:solidFill>
              </a:rPr>
              <a:t>в Федеральный перечень </a:t>
            </a:r>
            <a:r>
              <a:rPr lang="ru-RU" sz="1600" b="1" dirty="0" smtClean="0">
                <a:solidFill>
                  <a:srgbClr val="4249AA"/>
                </a:solidFill>
              </a:rPr>
              <a:t>(</a:t>
            </a:r>
            <a:r>
              <a:rPr lang="ru-RU" sz="1600" b="1" dirty="0">
                <a:solidFill>
                  <a:srgbClr val="4249AA"/>
                </a:solidFill>
              </a:rPr>
              <a:t>Приложение №1)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сего </a:t>
            </a:r>
            <a:r>
              <a:rPr lang="ru-RU" sz="1400" dirty="0" smtClean="0"/>
              <a:t>внесены изменения </a:t>
            </a:r>
            <a:r>
              <a:rPr lang="ru-RU" sz="1400" dirty="0" smtClean="0"/>
              <a:t>по </a:t>
            </a:r>
            <a:r>
              <a:rPr lang="ru-RU" sz="1600" b="1" dirty="0" smtClean="0">
                <a:solidFill>
                  <a:srgbClr val="4249AA"/>
                </a:solidFill>
              </a:rPr>
              <a:t>61 позиции в ФПУ</a:t>
            </a:r>
            <a:r>
              <a:rPr lang="ru-RU" sz="1400" dirty="0" smtClean="0"/>
              <a:t>: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ОБЩАЯ СТАТИСТИКА ИЗМЕНЕНИЙ ФЕДЕРАЛЬНОГО ПЕРЕЧНЯ ПО ИЗДАТЕЛЬСТВАМ: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"Просвещение", "ДРОФА", "ВЕНТАНА-ГРАФ", "БИНОМ. Лаборатория знаний", "Развивающее обучение"</a:t>
            </a:r>
            <a:endParaRPr lang="ru-RU" sz="2000" b="1" dirty="0">
              <a:solidFill>
                <a:srgbClr val="4249AA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393721" y="4596552"/>
            <a:ext cx="7256329" cy="1554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4249AA"/>
                </a:solidFill>
              </a:rPr>
              <a:t>Учебники, исключаемые из Федерального перечня учебников </a:t>
            </a:r>
            <a:r>
              <a:rPr lang="ru-RU" sz="1600" b="1" dirty="0" smtClean="0">
                <a:solidFill>
                  <a:srgbClr val="4249AA"/>
                </a:solidFill>
              </a:rPr>
              <a:t>(</a:t>
            </a:r>
            <a:r>
              <a:rPr lang="ru-RU" sz="1600" b="1" dirty="0">
                <a:solidFill>
                  <a:srgbClr val="4249AA"/>
                </a:solidFill>
              </a:rPr>
              <a:t>Приложение №2)</a:t>
            </a:r>
          </a:p>
          <a:p>
            <a:pPr>
              <a:spcAft>
                <a:spcPts val="600"/>
              </a:spcAft>
            </a:pPr>
            <a:r>
              <a:rPr lang="ru-RU" sz="1400" dirty="0" smtClean="0"/>
              <a:t>Всего исключено </a:t>
            </a:r>
            <a:r>
              <a:rPr lang="ru-RU" sz="1400" b="1" dirty="0" smtClean="0">
                <a:solidFill>
                  <a:srgbClr val="4249AA"/>
                </a:solidFill>
              </a:rPr>
              <a:t>175 учебников</a:t>
            </a:r>
            <a:r>
              <a:rPr lang="ru-RU" sz="1400" dirty="0" smtClean="0"/>
              <a:t>, в том числе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144 старых учебников-дублей</a:t>
            </a:r>
            <a:r>
              <a:rPr lang="ru-RU" sz="1400" dirty="0" smtClean="0"/>
              <a:t> </a:t>
            </a:r>
            <a:r>
              <a:rPr lang="ru-RU" sz="1400" b="1" dirty="0" smtClean="0"/>
              <a:t>—</a:t>
            </a:r>
            <a:r>
              <a:rPr lang="ru-RU" sz="1400" dirty="0" smtClean="0"/>
              <a:t> для облегчения поиска их актуальных версий, </a:t>
            </a:r>
            <a:br>
              <a:rPr lang="ru-RU" sz="1400" dirty="0" smtClean="0"/>
            </a:br>
            <a:r>
              <a:rPr lang="ru-RU" sz="1400" dirty="0" smtClean="0"/>
              <a:t>которые включены в Федеральный  перечень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31 учебник — </a:t>
            </a:r>
            <a:r>
              <a:rPr lang="ru-RU" sz="1400" dirty="0" smtClean="0"/>
              <a:t>в связи с содержательными и юридическими аспектами. </a:t>
            </a:r>
            <a:br>
              <a:rPr lang="ru-RU" sz="1400" dirty="0" smtClean="0"/>
            </a:br>
            <a:r>
              <a:rPr lang="ru-RU" sz="1400" b="1" dirty="0" smtClean="0"/>
              <a:t>Рекомендуемые замены </a:t>
            </a:r>
            <a:r>
              <a:rPr lang="ru-RU" sz="1400" dirty="0" smtClean="0"/>
              <a:t>по данным учебникам приведены на следующих </a:t>
            </a:r>
            <a:r>
              <a:rPr lang="ru-RU" sz="1400" dirty="0" smtClean="0"/>
              <a:t>слайдах</a:t>
            </a:r>
            <a:endParaRPr lang="ru-RU" sz="1400" dirty="0"/>
          </a:p>
        </p:txBody>
      </p:sp>
      <p:graphicFrame>
        <p:nvGraphicFramePr>
          <p:cNvPr id="142" name="Диаграмма 14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2708986"/>
              </p:ext>
            </p:extLst>
          </p:nvPr>
        </p:nvGraphicFramePr>
        <p:xfrm>
          <a:off x="7428654" y="4450358"/>
          <a:ext cx="4572000" cy="1846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393721" y="1893541"/>
            <a:ext cx="11606933" cy="22467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Исправлены </a:t>
            </a:r>
            <a:r>
              <a:rPr lang="ru-RU" sz="1400" b="1" dirty="0" smtClean="0"/>
              <a:t>опечатки </a:t>
            </a:r>
            <a:r>
              <a:rPr lang="ru-RU" sz="1400" dirty="0" smtClean="0"/>
              <a:t>в названиях, авторском коллективе, а также указанных классах </a:t>
            </a:r>
            <a:br>
              <a:rPr lang="ru-RU" sz="1400" dirty="0" smtClean="0"/>
            </a:br>
            <a:r>
              <a:rPr lang="ru-RU" sz="1400" dirty="0" smtClean="0"/>
              <a:t>(согласно авторским договорам и выпускаемым издательствами учебникам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Окончательно зафиксированы правообладатели (издатели) </a:t>
            </a:r>
            <a:r>
              <a:rPr lang="ru-RU" sz="1400" dirty="0" smtClean="0"/>
              <a:t>по учебникам согласно документам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Учебники "Русский родной язык" для 1-9 классов с момента включения в ФПУ  22.11.2019 г. выпускаются издательством "Просвещение</a:t>
            </a:r>
            <a:r>
              <a:rPr lang="ru-RU" sz="1400" dirty="0"/>
              <a:t>"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(АО </a:t>
            </a:r>
            <a:r>
              <a:rPr lang="ru-RU" sz="1400" dirty="0"/>
              <a:t>"Издательство "Учебная литература" </a:t>
            </a:r>
            <a:r>
              <a:rPr lang="ru-RU" sz="1400" dirty="0" smtClean="0"/>
              <a:t>прекратило </a:t>
            </a:r>
            <a:r>
              <a:rPr lang="ru-RU" sz="1400" dirty="0"/>
              <a:t>свою деятельность путем реорганизации и </a:t>
            </a:r>
            <a:r>
              <a:rPr lang="ru-RU" sz="1400" dirty="0" smtClean="0"/>
              <a:t>присоединения к </a:t>
            </a:r>
            <a:r>
              <a:rPr lang="ru-RU" sz="1400" dirty="0"/>
              <a:t>АО "Издательство "Просвещение" </a:t>
            </a:r>
            <a:r>
              <a:rPr lang="ru-RU" sz="1400" dirty="0" smtClean="0"/>
              <a:t>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Учебники для 1-4 классов системы "Планета знания", </a:t>
            </a:r>
            <a:r>
              <a:rPr lang="ru-RU" sz="1400" dirty="0"/>
              <a:t>а также </a:t>
            </a:r>
            <a:r>
              <a:rPr lang="ru-RU" sz="1400" dirty="0" smtClean="0"/>
              <a:t>учебник по черчению </a:t>
            </a:r>
            <a:r>
              <a:rPr lang="ru-RU" sz="1400" dirty="0" err="1" smtClean="0"/>
              <a:t>Ботвинникова</a:t>
            </a:r>
            <a:r>
              <a:rPr lang="ru-RU" sz="1400" dirty="0" smtClean="0"/>
              <a:t> </a:t>
            </a:r>
            <a:r>
              <a:rPr lang="ru-RU" sz="1400" dirty="0"/>
              <a:t>А.Д</a:t>
            </a:r>
            <a:r>
              <a:rPr lang="ru-RU" sz="1400" dirty="0" smtClean="0"/>
              <a:t>. и др.  выпускаются издательством "Дрофа", которое является правопреемником издательства "</a:t>
            </a:r>
            <a:r>
              <a:rPr lang="ru-RU" sz="1400" dirty="0" err="1" smtClean="0"/>
              <a:t>Астрель</a:t>
            </a:r>
            <a:r>
              <a:rPr lang="ru-RU" sz="1400" dirty="0" smtClean="0"/>
              <a:t>" с 2018 </a:t>
            </a:r>
            <a:r>
              <a:rPr lang="ru-RU" sz="1400" dirty="0" smtClean="0"/>
              <a:t>года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/>
              <a:t>Тип изменения </a:t>
            </a:r>
            <a:r>
              <a:rPr lang="ru-RU" sz="1400" dirty="0" smtClean="0"/>
              <a:t>по каждому учебнику </a:t>
            </a:r>
            <a:r>
              <a:rPr lang="ru-RU" sz="1400" b="1" dirty="0" smtClean="0"/>
              <a:t>указан </a:t>
            </a:r>
            <a:r>
              <a:rPr lang="ru-RU" sz="1400" dirty="0" smtClean="0"/>
              <a:t>в Приложении 1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41893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6226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12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ПРЕДЛОЖЕНИЕ ПО ЗАМЕНЕ ИСКЛЮЧЕННЫХ УЧЕБНИКОВ.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Раздел 1. Начальное и основное общее образование</a:t>
            </a:r>
            <a:endParaRPr lang="ru-RU" sz="2000" b="1" dirty="0">
              <a:solidFill>
                <a:srgbClr val="4249AA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104893"/>
              </p:ext>
            </p:extLst>
          </p:nvPr>
        </p:nvGraphicFramePr>
        <p:xfrm>
          <a:off x="443479" y="1133175"/>
          <a:ext cx="11307831" cy="4283599"/>
        </p:xfrm>
        <a:graphic>
          <a:graphicData uri="http://schemas.openxmlformats.org/drawingml/2006/table">
            <a:tbl>
              <a:tblPr/>
              <a:tblGrid>
                <a:gridCol w="1171312"/>
                <a:gridCol w="1012499"/>
                <a:gridCol w="2871989"/>
                <a:gridCol w="1249251"/>
                <a:gridCol w="1033598"/>
                <a:gridCol w="2920216"/>
                <a:gridCol w="1048966"/>
              </a:tblGrid>
              <a:tr h="3512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/ Предмет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ключенные линии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и УМК на замену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0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 №1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</a:tr>
              <a:tr h="279955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чальное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бщее образование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ский язы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.2.1.15.1 - 1.1.2.1.15.3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урьялайне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.А. и др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нский язык (2-4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 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-Граф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</a:t>
                      </a:r>
                      <a:r>
                        <a:rPr lang="ru-RU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сключена из перечня, может быть предложена в качестве регионального проект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9584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новное 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е образование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гебр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2.13.1 - 1.2.4.2.13.3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ордкович А.Г., Семенов П.В.,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ександров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.А.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гебр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-Граф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2.14.1 - 1.2.4.2.14.3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ордкович А.Г., Семенов П.В., Александрова Л.А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дахаев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Е.Л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гебр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7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ИНОМ. Лаборатория знаний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 России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3.1.1.1 - 1.2.3.1.1.4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ндреев И.Л., Федоров И.Н.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яшенко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.М. и др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и (6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 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3.1.5.1 - 1.2.3.1.5.4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нилевский И.Н., Андреев И.Л., Федоров И.Н., Ляшенко Л.М. и др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и (6-9) 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новлённая линия УМК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38100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1.1.1 - 1.2.4.1.1.2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шмаков М.И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-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стрел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1.8.1.1 - 1.2.4.1.8.2.1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рзляк А.Г., Полонский В.Б., Якир М.С.; Под ред. Подольского В.Е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 (5-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381000">
                <a:tc v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.4.1.3.1 - 1.2.4.1.3.2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иленки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.Н., Жохов В.И., Чесноков А.С. и др. Математика (5-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</a:t>
                      </a:r>
                      <a:r>
                        <a:rPr lang="ru-RU" sz="12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отозвана из перечня правообладателем для актуализации содержания. Проходит экспертизу для включения в федеральный перечень учебников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4201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6226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12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ПРЕДЛОЖЕНИЕ ПО ЗАМЕНЕ ИСКЛЮЧЕННЫХ УЧЕБНИКОВ.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Раздел 1. Среднее общее образование</a:t>
            </a:r>
            <a:endParaRPr lang="ru-RU" sz="2000" b="1" dirty="0">
              <a:solidFill>
                <a:srgbClr val="4249AA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279367"/>
              </p:ext>
            </p:extLst>
          </p:nvPr>
        </p:nvGraphicFramePr>
        <p:xfrm>
          <a:off x="443479" y="1133173"/>
          <a:ext cx="11307831" cy="5266081"/>
        </p:xfrm>
        <a:graphic>
          <a:graphicData uri="http://schemas.openxmlformats.org/drawingml/2006/table">
            <a:tbl>
              <a:tblPr/>
              <a:tblGrid>
                <a:gridCol w="1256532"/>
                <a:gridCol w="965917"/>
                <a:gridCol w="2884867"/>
                <a:gridCol w="1210614"/>
                <a:gridCol w="1068947"/>
                <a:gridCol w="2910625"/>
                <a:gridCol w="1010329"/>
              </a:tblGrid>
              <a:tr h="3522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/ Предмет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ключенные линии УМК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и УМК на замену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53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684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 №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</a:tr>
              <a:tr h="304912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реднее 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е образование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23" marR="8423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</a:tr>
              <a:tr h="601401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сеобщая история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2.1 - 1.3.3.1.2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обуев О.В., Митрофанов А.А., Пономарев М.В. История. Всеобщая история (баз. и угл. уровни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12.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убин А.В. Всеобщая история. 10 класс. Новейшая история. Учебник (базовый, углубленный) (10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6910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5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имов О.Ю.,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емляници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.А.,Носков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.В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, Искровская Л.В./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д ред.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ясников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.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История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Всеобщая история (баз. и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г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уровни) (10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11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ейфец В.Л., Федоров О.Д., Хейфец Л.С.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веринов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К.М.; </a:t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д общ. ред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ясников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В.С. </a:t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сеобщая история. Новейшая история (баз. и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гл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уровни) (10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новый формат изучение всеобщей истории — до 10 </a:t>
                      </a:r>
                      <a:r>
                        <a:rPr lang="ru-RU" sz="12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496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.6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енков О.Ю., Андреевская Т.П., Шевченко С.В./Под ред. Мясникова В.С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тория. Всеобщая история (баз. и угл. уровни) (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0140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знани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9.5.1 - 1.3.3.9.5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болева О.Б., Воронцов А.В. и др./Под ред. Бордовского Г.А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знание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9.6.1 - 1.3.3.9.6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ринберг Р.С., Гаман-Голугвина О.В. и др.; под общ. ред. Тишкова В.А. Обществознание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ентан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Граф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496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я в мир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0.2.1 - 1.3.3.10.2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обуев О.В., Клоков В.А., Пономарев М.В. и др. 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я в мире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3.10.1.1.1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лобуев О.В., Абрамов А.В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арпачев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С.В. и др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оссия в мире. С древнейших времен до начала XX века (баз. уровень) (11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рофа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60140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иология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5.6.7.1 - 1.3.5.6.7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ухорукова Л.Н., Кучменко В.С., Иванова Т.В. Биология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.5.6.5.1 - 1.3.5.6.5.2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сечник В.В., Каменский А.А., Рубцов А.М. и др./Под ред. Пасечника В.В. Биология (баз. уровень) (10-11 кл.)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8423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1174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6226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0" lang="en-US" sz="12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="" xmlns:a16="http://schemas.microsoft.com/office/drawing/2014/main" id="{29F5709B-B4CB-384B-B9A0-15686840CA06}"/>
              </a:ext>
            </a:extLst>
          </p:cNvPr>
          <p:cNvSpPr/>
          <p:nvPr/>
        </p:nvSpPr>
        <p:spPr>
          <a:xfrm>
            <a:off x="277812" y="222724"/>
            <a:ext cx="1172284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4249AA"/>
                </a:solidFill>
              </a:rPr>
              <a:t>ПРЕДЛОЖЕНИЕ ПО ЗАМЕНЕ ИСКЛЮЧЕННЫХ УЧЕБНИКОВ.</a:t>
            </a:r>
            <a:br>
              <a:rPr lang="ru-RU" sz="2000" b="1" dirty="0" smtClean="0">
                <a:solidFill>
                  <a:srgbClr val="4249AA"/>
                </a:solidFill>
              </a:rPr>
            </a:br>
            <a:r>
              <a:rPr lang="ru-RU" sz="2000" b="1" dirty="0" smtClean="0">
                <a:solidFill>
                  <a:srgbClr val="4249AA"/>
                </a:solidFill>
              </a:rPr>
              <a:t>Раздел 2</a:t>
            </a:r>
            <a:r>
              <a:rPr lang="ru-RU" sz="2000" b="1" dirty="0">
                <a:solidFill>
                  <a:srgbClr val="4249AA"/>
                </a:solidFill>
              </a:rPr>
              <a:t>. Специальные учебники для реализации основных адаптированных программ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1569849"/>
              </p:ext>
            </p:extLst>
          </p:nvPr>
        </p:nvGraphicFramePr>
        <p:xfrm>
          <a:off x="443479" y="1146054"/>
          <a:ext cx="11327811" cy="3378750"/>
        </p:xfrm>
        <a:graphic>
          <a:graphicData uri="http://schemas.openxmlformats.org/drawingml/2006/table">
            <a:tbl>
              <a:tblPr/>
              <a:tblGrid>
                <a:gridCol w="1245850"/>
                <a:gridCol w="1019229"/>
                <a:gridCol w="2851260"/>
                <a:gridCol w="1212753"/>
                <a:gridCol w="1070836"/>
                <a:gridCol w="2829045"/>
                <a:gridCol w="1098838"/>
              </a:tblGrid>
              <a:tr h="34789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/ Предмет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сключенные линии УМ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и УМК на замен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0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ер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ПУ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иния УМК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дательство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ДЕЛ №2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</a:tr>
              <a:tr h="7620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пециальные учебники для реализации основных адаптированных программ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1.1.1.1 - 2.2.1.1.1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алунчикова Н.Г., Якубовская Э.В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сский язык. Учебник для специальных (коррекционных) образовательных учреждений (VIII вид) (5-9 кл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1.1.2.1 - 2.2.1.1.2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Якубовская Э. В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алунчикова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Н. Г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сский язык. 5 класс (для обучающихся с интеллектуальными нарушениями)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9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62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4.1.2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ова М.Н. </a:t>
                      </a:r>
                      <a:b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. Учебник для специальных (коррекционных) образовательных учреждений VIII вида. (9 кл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4.1.1.5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нтропов А.П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одо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.Ю.,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Ходо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Т.Г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тематика. 9 класс (для обучающихся с интеллектуальными нарушениями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</a:tr>
              <a:tr h="7715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.6.1.4.1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икишов А.И. </a:t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иология. Неживая природа. Учебник для специальных (коррекционных) образовательных учреждений VIII вида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свещение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ФГОС ОВЗ изучение биологии начинается с 7 класса, </a:t>
                      </a: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</a:t>
                      </a:r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6 классах изучается природоведение (№ ФПУ 2.2.6.1.2.1 - 2.2.6.1.2.2)</a:t>
                      </a:r>
                    </a:p>
                  </a:txBody>
                  <a:tcPr marL="54000" marR="54000" marT="9525" marB="0" anchor="ctr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73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29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5.61321559900000011112E+00&quot;&gt;&lt;m_msothmcolidx val=&quot;0&quot;/&gt;&lt;m_rgb r=&quot;D4&quot; g=&quot;FC&quot; b=&quot;A9&quot;/&gt;&lt;/elem&gt;&lt;elem m_fUsage=&quot;1.42787308005351043505E+00&quot;&gt;&lt;m_msothmcolidx val=&quot;0&quot;/&gt;&lt;m_rgb r=&quot;00&quot; g=&quot;B0&quot; b=&quot;F0&quot;/&gt;&lt;/elem&gt;&lt;elem m_fUsage=&quot;9.00000000000000022204E-01&quot;&gt;&lt;m_msothmcolidx val=&quot;0&quot;/&gt;&lt;m_rgb r=&quot;2A&quot; g=&quot;6A&quot; b=&quot;A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.EyHthi.v4yHugp7p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720</TotalTime>
  <Words>651</Words>
  <Application>Microsoft Office PowerPoint</Application>
  <PresentationFormat>Широкоэкранный</PresentationFormat>
  <Paragraphs>157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Arial Narrow</vt:lpstr>
      <vt:lpstr>Calibri</vt:lpstr>
      <vt:lpstr>Calibri Light</vt:lpstr>
      <vt:lpstr>Open Sans Light</vt:lpstr>
      <vt:lpstr>Wingdings</vt:lpstr>
      <vt:lpstr>Drofa</vt:lpstr>
      <vt:lpstr>Слайд think-cell</vt:lpstr>
      <vt:lpstr>Изменения Федерального перечня учебников согласно приказу Министерства просвещения Российской Федерации  от 18 мая 2020 г. N 249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ey Shapovalov</dc:creator>
  <cp:lastModifiedBy>Костяная Ольга Борисовна</cp:lastModifiedBy>
  <cp:revision>1188</cp:revision>
  <cp:lastPrinted>2020-03-25T09:47:52Z</cp:lastPrinted>
  <dcterms:created xsi:type="dcterms:W3CDTF">2018-08-31T12:23:43Z</dcterms:created>
  <dcterms:modified xsi:type="dcterms:W3CDTF">2020-06-10T09:01:24Z</dcterms:modified>
</cp:coreProperties>
</file>